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08" r:id="rId2"/>
  </p:sldIdLst>
  <p:sldSz cx="9144000" cy="6858000" type="screen4x3"/>
  <p:notesSz cx="6797675" cy="987266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7CBCB"/>
    <a:srgbClr val="6600CC"/>
    <a:srgbClr val="5A2D7F"/>
    <a:srgbClr val="B40084"/>
    <a:srgbClr val="000000"/>
    <a:srgbClr val="3C3C3C"/>
    <a:srgbClr val="83AFB4"/>
    <a:srgbClr val="ADBBA0"/>
    <a:srgbClr val="E8E6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5" d="100"/>
          <a:sy n="115" d="100"/>
        </p:scale>
        <p:origin x="-804" y="-102"/>
      </p:cViewPr>
      <p:guideLst>
        <p:guide orient="horz" pos="2160"/>
        <p:guide orient="horz" pos="3888"/>
        <p:guide pos="2880"/>
        <p:guide pos="55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815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815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46DD75B1-476B-42FA-B62B-D56C19E22C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3078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815" y="0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5163" y="465138"/>
            <a:ext cx="5467350" cy="4102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924" y="4688783"/>
            <a:ext cx="5437827" cy="4442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815" y="9377565"/>
            <a:ext cx="2945293" cy="49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r" defTabSz="94297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2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643F7BAF-6A54-44F8-BD16-AF0D1D9995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1655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456AA9-E19A-4D6F-8C69-A4BDFA941E8F}" type="slidenum">
              <a:rPr lang="en-GB" smtClean="0"/>
              <a:pPr>
                <a:defRPr/>
              </a:pPr>
              <a:t>1</a:t>
            </a:fld>
            <a:endParaRPr lang="en-GB" smtClean="0"/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50814" y="9379193"/>
            <a:ext cx="2946861" cy="4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611" tIns="46805" rIns="93611" bIns="46805" anchor="b"/>
          <a:lstStyle/>
          <a:p>
            <a:pPr algn="r" defTabSz="936625"/>
            <a:fld id="{FD7888F5-233C-4EBA-84F7-2B5991497596}" type="slidenum">
              <a:rPr lang="en-GB" sz="2800" b="0">
                <a:solidFill>
                  <a:schemeClr val="tx1"/>
                </a:solidFill>
              </a:rPr>
              <a:pPr algn="r" defTabSz="936625"/>
              <a:t>1</a:t>
            </a:fld>
            <a:endParaRPr lang="en-GB" sz="2800" b="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1363"/>
            <a:ext cx="4935537" cy="370205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611" tIns="46805" rIns="93611" bIns="46805"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5A2D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Rectangle 13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16"/>
          <p:cNvGrpSpPr>
            <a:grpSpLocks/>
          </p:cNvGrpSpPr>
          <p:nvPr/>
        </p:nvGrpSpPr>
        <p:grpSpPr bwMode="auto">
          <a:xfrm>
            <a:off x="7204075" y="330200"/>
            <a:ext cx="1597025" cy="925513"/>
            <a:chOff x="158" y="210"/>
            <a:chExt cx="4113" cy="2383"/>
          </a:xfrm>
        </p:grpSpPr>
        <p:pic>
          <p:nvPicPr>
            <p:cNvPr id="6" name="Picture 217" descr="RSA-RGB-POS grey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63" y="342"/>
              <a:ext cx="3883" cy="2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218"/>
            <p:cNvSpPr>
              <a:spLocks noChangeArrowheads="1"/>
            </p:cNvSpPr>
            <p:nvPr/>
          </p:nvSpPr>
          <p:spPr bwMode="hidden">
            <a:xfrm>
              <a:off x="158" y="210"/>
              <a:ext cx="4113" cy="2309"/>
            </a:xfrm>
            <a:prstGeom prst="rect">
              <a:avLst/>
            </a:prstGeom>
            <a:solidFill>
              <a:srgbClr val="5A2D7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95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  <a:buSzPct val="80000"/>
                <a:buFontTx/>
                <a:buChar char="•"/>
                <a:defRPr/>
              </a:pPr>
              <a:endParaRPr lang="en-GB"/>
            </a:p>
          </p:txBody>
        </p:sp>
        <p:pic>
          <p:nvPicPr>
            <p:cNvPr id="8" name="Picture 219" descr="purple bg trans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hidden">
            <a:xfrm>
              <a:off x="170" y="243"/>
              <a:ext cx="4034" cy="2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212" name="Rectangle 116"/>
          <p:cNvSpPr>
            <a:spLocks noGrp="1" noChangeArrowheads="1"/>
          </p:cNvSpPr>
          <p:nvPr>
            <p:ph type="subTitle" idx="1"/>
          </p:nvPr>
        </p:nvSpPr>
        <p:spPr>
          <a:xfrm>
            <a:off x="366713" y="2889250"/>
            <a:ext cx="6445250" cy="334963"/>
          </a:xfrm>
        </p:spPr>
        <p:txBody>
          <a:bodyPr/>
          <a:lstStyle>
            <a:lvl1pPr marL="0" indent="0" eaLnBrk="0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Subtitle of the presentation</a:t>
            </a:r>
          </a:p>
        </p:txBody>
      </p:sp>
      <p:sp>
        <p:nvSpPr>
          <p:cNvPr id="4213" name="Rectangle 117"/>
          <p:cNvSpPr>
            <a:spLocks noGrp="1" noChangeArrowheads="1"/>
          </p:cNvSpPr>
          <p:nvPr>
            <p:ph type="ctrTitle"/>
          </p:nvPr>
        </p:nvSpPr>
        <p:spPr>
          <a:xfrm>
            <a:off x="366713" y="2046288"/>
            <a:ext cx="6445250" cy="777875"/>
          </a:xfrm>
          <a:ln algn="ctr"/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en-GB"/>
              <a:t>Title of the presentatio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F09D1-3801-4BCC-A699-EF93DCC6BFC4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72275" y="136525"/>
            <a:ext cx="2195513" cy="5767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2563" y="136525"/>
            <a:ext cx="6437312" cy="57673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AD992-54D9-4991-81B1-473144B50719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7B7E1F-7CEB-4069-8AA2-10F82EEDB92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6BF881-E82C-488E-95F4-CEF833282235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563" y="1128713"/>
            <a:ext cx="4316412" cy="4775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375" y="1128713"/>
            <a:ext cx="4316413" cy="4775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22092-8BF1-4A75-BF2C-F04FD4B1F38C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C3AD4A-9474-4A23-A920-0399920E7AA9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B42FB-119C-4D23-8E6D-89C9220D516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E50E94-8216-47FD-9C31-7C4FF959C4B4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7CF643-114A-439E-AF72-9A0B1D26A67A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9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37484-6930-4998-9CA6-5C3CD8AA680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563" y="1128713"/>
            <a:ext cx="8785225" cy="4775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evel 1: Bullet 1st order</a:t>
            </a:r>
          </a:p>
          <a:p>
            <a:pPr lvl="1"/>
            <a:r>
              <a:rPr lang="en-GB" smtClean="0"/>
              <a:t>Level 2: Bullet 2nd order</a:t>
            </a:r>
          </a:p>
          <a:p>
            <a:pPr lvl="2"/>
            <a:r>
              <a:rPr lang="en-GB" smtClean="0"/>
              <a:t>Level 3: Bullet 3rd order</a:t>
            </a:r>
          </a:p>
          <a:p>
            <a:pPr lvl="3"/>
            <a:r>
              <a:rPr lang="en-GB" smtClean="0"/>
              <a:t>Level 4: Bullet 4th order</a:t>
            </a:r>
          </a:p>
          <a:p>
            <a:pPr lvl="4"/>
            <a:r>
              <a:rPr lang="en-GB" smtClean="0"/>
              <a:t>Level 5: Bullet 5th order</a:t>
            </a: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136525"/>
            <a:ext cx="87852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grpSp>
        <p:nvGrpSpPr>
          <p:cNvPr id="6148" name="Group 187"/>
          <p:cNvGrpSpPr>
            <a:grpSpLocks/>
          </p:cNvGrpSpPr>
          <p:nvPr/>
        </p:nvGrpSpPr>
        <p:grpSpPr bwMode="auto">
          <a:xfrm>
            <a:off x="0" y="6196013"/>
            <a:ext cx="9144000" cy="660400"/>
            <a:chOff x="0" y="3728"/>
            <a:chExt cx="5760" cy="592"/>
          </a:xfrm>
        </p:grpSpPr>
        <p:sp>
          <p:nvSpPr>
            <p:cNvPr id="1035" name="Line 188"/>
            <p:cNvSpPr>
              <a:spLocks noChangeShapeType="1"/>
            </p:cNvSpPr>
            <p:nvPr/>
          </p:nvSpPr>
          <p:spPr bwMode="auto">
            <a:xfrm>
              <a:off x="0" y="3732"/>
              <a:ext cx="5760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1036" name="Rectangle 189"/>
            <p:cNvSpPr>
              <a:spLocks noChangeArrowheads="1"/>
            </p:cNvSpPr>
            <p:nvPr/>
          </p:nvSpPr>
          <p:spPr bwMode="hidden">
            <a:xfrm>
              <a:off x="0" y="3728"/>
              <a:ext cx="5760" cy="592"/>
            </a:xfrm>
            <a:prstGeom prst="rect">
              <a:avLst/>
            </a:prstGeom>
            <a:solidFill>
              <a:srgbClr val="5A2D7F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itchFamily="2" charset="2"/>
                <a:buNone/>
                <a:defRPr/>
              </a:pPr>
              <a:endParaRPr lang="en-GB" sz="1000" b="0">
                <a:solidFill>
                  <a:schemeClr val="tx1"/>
                </a:solidFill>
              </a:endParaRPr>
            </a:p>
          </p:txBody>
        </p:sp>
      </p:grpSp>
      <p:sp>
        <p:nvSpPr>
          <p:cNvPr id="1214" name="Rectangle 19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4150" y="6619875"/>
            <a:ext cx="609758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800">
                <a:solidFill>
                  <a:srgbClr val="FFFFFF"/>
                </a:solidFill>
                <a:cs typeface="Arial" charset="0"/>
              </a:defRPr>
            </a:lvl1pPr>
          </a:lstStyle>
          <a:p>
            <a:pPr>
              <a:defRPr/>
            </a:pPr>
            <a:fld id="{D9679048-2290-4B4A-B5EF-18C3F7E4784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grpSp>
        <p:nvGrpSpPr>
          <p:cNvPr id="6150" name="Group 191"/>
          <p:cNvGrpSpPr>
            <a:grpSpLocks/>
          </p:cNvGrpSpPr>
          <p:nvPr/>
        </p:nvGrpSpPr>
        <p:grpSpPr bwMode="auto">
          <a:xfrm>
            <a:off x="8159750" y="6281738"/>
            <a:ext cx="858838" cy="496887"/>
            <a:chOff x="158" y="210"/>
            <a:chExt cx="4113" cy="2383"/>
          </a:xfrm>
        </p:grpSpPr>
        <p:pic>
          <p:nvPicPr>
            <p:cNvPr id="6152" name="Picture 192" descr="RSA-RGB-POS grey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63" y="342"/>
              <a:ext cx="3883" cy="2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3" name="Rectangle 193"/>
            <p:cNvSpPr>
              <a:spLocks noChangeArrowheads="1"/>
            </p:cNvSpPr>
            <p:nvPr/>
          </p:nvSpPr>
          <p:spPr bwMode="hidden">
            <a:xfrm>
              <a:off x="158" y="210"/>
              <a:ext cx="4113" cy="2307"/>
            </a:xfrm>
            <a:prstGeom prst="rect">
              <a:avLst/>
            </a:prstGeom>
            <a:solidFill>
              <a:srgbClr val="5A2D7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95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1"/>
                </a:buClr>
                <a:buSzPct val="80000"/>
                <a:buFontTx/>
                <a:buChar char="•"/>
                <a:defRPr/>
              </a:pPr>
              <a:endParaRPr lang="en-GB"/>
            </a:p>
          </p:txBody>
        </p:sp>
        <p:pic>
          <p:nvPicPr>
            <p:cNvPr id="6154" name="Picture 194" descr="purple bg trans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hidden">
            <a:xfrm>
              <a:off x="170" y="243"/>
              <a:ext cx="4034" cy="2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1" name="Line 195"/>
          <p:cNvSpPr>
            <a:spLocks noChangeShapeType="1"/>
          </p:cNvSpPr>
          <p:nvPr/>
        </p:nvSpPr>
        <p:spPr bwMode="auto">
          <a:xfrm>
            <a:off x="0" y="938213"/>
            <a:ext cx="9144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  <a:ea typeface="+mn-ea"/>
          <a:cs typeface="+mn-cs"/>
        </a:defRPr>
      </a:lvl1pPr>
      <a:lvl2pPr marL="563563" indent="-18256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–"/>
        <a:defRPr b="1">
          <a:solidFill>
            <a:srgbClr val="000000"/>
          </a:solidFill>
          <a:latin typeface="+mn-lt"/>
        </a:defRPr>
      </a:lvl2pPr>
      <a:lvl3pPr marL="930275" indent="-17621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3pPr>
      <a:lvl4pPr marL="1303338" indent="-18256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4pPr>
      <a:lvl5pPr marL="1682750" indent="-188913" algn="l" rtl="0" eaLnBrk="0" fontAlgn="base" hangingPunct="0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5pPr>
      <a:lvl6pPr marL="21399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6pPr>
      <a:lvl7pPr marL="25971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7pPr>
      <a:lvl8pPr marL="30543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8pPr>
      <a:lvl9pPr marL="3511550" indent="-188913" algn="l" rtl="0" fontAlgn="base">
        <a:lnSpc>
          <a:spcPct val="95000"/>
        </a:lnSpc>
        <a:spcBef>
          <a:spcPct val="25000"/>
        </a:spcBef>
        <a:spcAft>
          <a:spcPct val="25000"/>
        </a:spcAft>
        <a:buClr>
          <a:schemeClr val="tx1"/>
        </a:buClr>
        <a:buSzPct val="80000"/>
        <a:buFont typeface="Arial" charset="0"/>
        <a:buChar char="•"/>
        <a:defRPr b="1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fld id="{B6980704-A278-430B-9C94-CB5F76B5DC80}" type="slidenum">
              <a:rPr lang="en-GB" smtClean="0"/>
              <a:pPr/>
              <a:t>1</a:t>
            </a:fld>
            <a:r>
              <a:rPr lang="en-GB" smtClean="0"/>
              <a:t> 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User Journey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82563" y="1071546"/>
            <a:ext cx="8604279" cy="300024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  <a:buNone/>
            </a:pPr>
            <a:r>
              <a:rPr lang="en-GB" dirty="0" smtClean="0"/>
              <a:t>The </a:t>
            </a:r>
            <a:r>
              <a:rPr lang="en-GB" dirty="0" smtClean="0"/>
              <a:t>Bank of Ireland Home journey</a:t>
            </a:r>
            <a:endParaRPr lang="en-GB" dirty="0" smtClean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753243" y="2528773"/>
            <a:ext cx="571504" cy="857256"/>
          </a:xfrm>
          <a:prstGeom prst="roundRect">
            <a:avLst>
              <a:gd name="adj" fmla="val 7852"/>
            </a:avLst>
          </a:prstGeom>
          <a:solidFill>
            <a:schemeClr val="bg1">
              <a:lumMod val="7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824813" y="2528773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109109" y="2243021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10367" y="3456673"/>
            <a:ext cx="92869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Bank of Ireland Insurance</a:t>
            </a:r>
            <a:endParaRPr lang="en-GB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1610499" y="3528905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Details Capture</a:t>
            </a:r>
            <a:endParaRPr lang="en-GB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3039259" y="3243153"/>
            <a:ext cx="7159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Eligibility Criteria</a:t>
            </a:r>
            <a:endParaRPr lang="en-GB" sz="1200" dirty="0"/>
          </a:p>
        </p:txBody>
      </p:sp>
      <p:cxnSp>
        <p:nvCxnSpPr>
          <p:cNvPr id="32" name="Straight Arrow Connector 31"/>
          <p:cNvCxnSpPr/>
          <p:nvPr/>
        </p:nvCxnSpPr>
        <p:spPr bwMode="auto">
          <a:xfrm flipV="1">
            <a:off x="2467755" y="2702543"/>
            <a:ext cx="569916" cy="25485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 bwMode="auto">
          <a:xfrm rot="5400000">
            <a:off x="789756" y="2206508"/>
            <a:ext cx="500066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10367" y="1688229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Point of sale</a:t>
            </a:r>
            <a:endParaRPr lang="en-GB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65" name="Straight Arrow Connector 64"/>
          <p:cNvCxnSpPr/>
          <p:nvPr/>
        </p:nvCxnSpPr>
        <p:spPr bwMode="auto">
          <a:xfrm>
            <a:off x="3752051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 bwMode="auto">
          <a:xfrm>
            <a:off x="2966233" y="3873953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23357" y="4802647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Retrieve</a:t>
            </a:r>
            <a:endParaRPr lang="en-GB" sz="1200" dirty="0"/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1396185" y="4096023"/>
            <a:ext cx="1427172" cy="30764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 bwMode="auto">
          <a:xfrm>
            <a:off x="4039391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896515" y="3231011"/>
            <a:ext cx="85725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ick Quote</a:t>
            </a:r>
            <a:endParaRPr lang="en-GB" sz="1200" dirty="0"/>
          </a:p>
        </p:txBody>
      </p:sp>
      <p:sp>
        <p:nvSpPr>
          <p:cNvPr id="85" name="Rounded Rectangle 84"/>
          <p:cNvSpPr/>
          <p:nvPr/>
        </p:nvSpPr>
        <p:spPr bwMode="auto">
          <a:xfrm>
            <a:off x="4968085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4825209" y="3231011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ote 2</a:t>
            </a:r>
            <a:endParaRPr lang="en-GB" sz="1200" dirty="0"/>
          </a:p>
        </p:txBody>
      </p:sp>
      <p:cxnSp>
        <p:nvCxnSpPr>
          <p:cNvPr id="87" name="Straight Arrow Connector 86"/>
          <p:cNvCxnSpPr/>
          <p:nvPr/>
        </p:nvCxnSpPr>
        <p:spPr bwMode="auto">
          <a:xfrm>
            <a:off x="5611027" y="2575927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Rounded Rectangle 87"/>
          <p:cNvSpPr/>
          <p:nvPr/>
        </p:nvSpPr>
        <p:spPr bwMode="auto">
          <a:xfrm>
            <a:off x="5896779" y="221873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825341" y="3218869"/>
            <a:ext cx="7143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Quote Summary</a:t>
            </a:r>
            <a:endParaRPr lang="en-GB" sz="1200" dirty="0"/>
          </a:p>
        </p:txBody>
      </p:sp>
      <p:cxnSp>
        <p:nvCxnSpPr>
          <p:cNvPr id="90" name="Straight Arrow Connector 89"/>
          <p:cNvCxnSpPr/>
          <p:nvPr/>
        </p:nvCxnSpPr>
        <p:spPr bwMode="auto">
          <a:xfrm>
            <a:off x="4682333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Rounded Rectangle 92"/>
          <p:cNvSpPr/>
          <p:nvPr/>
        </p:nvSpPr>
        <p:spPr bwMode="auto">
          <a:xfrm>
            <a:off x="6754003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682565" y="3231011"/>
            <a:ext cx="7143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Payment</a:t>
            </a:r>
            <a:endParaRPr lang="en-GB" sz="1200" dirty="0"/>
          </a:p>
        </p:txBody>
      </p:sp>
      <p:cxnSp>
        <p:nvCxnSpPr>
          <p:cNvPr id="95" name="Straight Arrow Connector 94"/>
          <p:cNvCxnSpPr/>
          <p:nvPr/>
        </p:nvCxnSpPr>
        <p:spPr bwMode="auto">
          <a:xfrm>
            <a:off x="1396185" y="294525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/>
          <p:nvPr/>
        </p:nvCxnSpPr>
        <p:spPr bwMode="auto">
          <a:xfrm>
            <a:off x="6469871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/>
          <p:nvPr/>
        </p:nvCxnSpPr>
        <p:spPr bwMode="auto">
          <a:xfrm>
            <a:off x="7343209" y="2588069"/>
            <a:ext cx="214314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 bwMode="auto">
          <a:xfrm rot="5400000">
            <a:off x="-281814" y="3766796"/>
            <a:ext cx="3786214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5" name="Rounded Rectangle 54"/>
          <p:cNvSpPr/>
          <p:nvPr/>
        </p:nvSpPr>
        <p:spPr bwMode="auto">
          <a:xfrm>
            <a:off x="4039391" y="400468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896515" y="4933381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Ineligible / Hand off</a:t>
            </a:r>
            <a:endParaRPr lang="en-GB" sz="1200" dirty="0"/>
          </a:p>
        </p:txBody>
      </p:sp>
      <p:cxnSp>
        <p:nvCxnSpPr>
          <p:cNvPr id="59" name="Straight Arrow Connector 58"/>
          <p:cNvCxnSpPr/>
          <p:nvPr/>
        </p:nvCxnSpPr>
        <p:spPr bwMode="auto">
          <a:xfrm rot="16200000" flipH="1">
            <a:off x="3504400" y="3440048"/>
            <a:ext cx="785818" cy="28416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ounded Rectangle 65"/>
          <p:cNvSpPr/>
          <p:nvPr/>
        </p:nvSpPr>
        <p:spPr bwMode="auto">
          <a:xfrm>
            <a:off x="7631241" y="2230879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423237" y="3243153"/>
            <a:ext cx="10801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Policy Confirmation</a:t>
            </a:r>
            <a:endParaRPr lang="en-GB" sz="1200" dirty="0"/>
          </a:p>
        </p:txBody>
      </p:sp>
      <p:sp>
        <p:nvSpPr>
          <p:cNvPr id="73" name="TextBox 72"/>
          <p:cNvSpPr txBox="1"/>
          <p:nvPr/>
        </p:nvSpPr>
        <p:spPr>
          <a:xfrm>
            <a:off x="610367" y="5403005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Bank of Ireland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539061" y="5403005"/>
            <a:ext cx="92869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5A2D7F"/>
                </a:solidFill>
              </a:rPr>
              <a:t>RSA</a:t>
            </a:r>
            <a:endParaRPr lang="en-GB" sz="1200" dirty="0">
              <a:solidFill>
                <a:srgbClr val="5A2D7F"/>
              </a:solidFill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5038363" y="4004687"/>
            <a:ext cx="571504" cy="857256"/>
          </a:xfrm>
          <a:prstGeom prst="roundRect">
            <a:avLst>
              <a:gd name="adj" fmla="val 7852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chemeClr val="tx1"/>
              </a:buClr>
              <a:buSzPct val="80000"/>
              <a:buFontTx/>
              <a:buChar char="•"/>
              <a:tabLst/>
            </a:pPr>
            <a:endParaRPr kumimoji="0" lang="en-GB" sz="18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895487" y="4933381"/>
            <a:ext cx="9286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/>
              <a:t>Ineligible / Hand off</a:t>
            </a:r>
            <a:endParaRPr lang="en-GB" sz="1200" dirty="0"/>
          </a:p>
        </p:txBody>
      </p:sp>
      <p:cxnSp>
        <p:nvCxnSpPr>
          <p:cNvPr id="81" name="Straight Arrow Connector 80"/>
          <p:cNvCxnSpPr/>
          <p:nvPr/>
        </p:nvCxnSpPr>
        <p:spPr bwMode="auto">
          <a:xfrm rot="16200000" flipH="1">
            <a:off x="4433094" y="3474194"/>
            <a:ext cx="785818" cy="28416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5398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3C3C3C"/>
      </a:dk1>
      <a:lt1>
        <a:srgbClr val="E8E6E2"/>
      </a:lt1>
      <a:dk2>
        <a:srgbClr val="5A2D7F"/>
      </a:dk2>
      <a:lt2>
        <a:srgbClr val="787878"/>
      </a:lt2>
      <a:accent1>
        <a:srgbClr val="83AFB4"/>
      </a:accent1>
      <a:accent2>
        <a:srgbClr val="ADBBA0"/>
      </a:accent2>
      <a:accent3>
        <a:srgbClr val="F2F0EE"/>
      </a:accent3>
      <a:accent4>
        <a:srgbClr val="323232"/>
      </a:accent4>
      <a:accent5>
        <a:srgbClr val="C1D4D6"/>
      </a:accent5>
      <a:accent6>
        <a:srgbClr val="9CA991"/>
      </a:accent6>
      <a:hlink>
        <a:srgbClr val="B40084"/>
      </a:hlink>
      <a:folHlink>
        <a:srgbClr val="FFFF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5000"/>
          </a:spcBef>
          <a:spcAft>
            <a:spcPct val="25000"/>
          </a:spcAft>
          <a:buClr>
            <a:schemeClr val="tx1"/>
          </a:buClr>
          <a:buSzPct val="80000"/>
          <a:buFontTx/>
          <a:buChar char="•"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5000"/>
          </a:spcBef>
          <a:spcAft>
            <a:spcPct val="25000"/>
          </a:spcAft>
          <a:buClr>
            <a:schemeClr val="tx1"/>
          </a:buClr>
          <a:buSzPct val="80000"/>
          <a:buFontTx/>
          <a:buChar char="•"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3C3C3C"/>
        </a:dk1>
        <a:lt1>
          <a:srgbClr val="E8E6E2"/>
        </a:lt1>
        <a:dk2>
          <a:srgbClr val="5A2D7F"/>
        </a:dk2>
        <a:lt2>
          <a:srgbClr val="787878"/>
        </a:lt2>
        <a:accent1>
          <a:srgbClr val="83AFB4"/>
        </a:accent1>
        <a:accent2>
          <a:srgbClr val="ADBBA0"/>
        </a:accent2>
        <a:accent3>
          <a:srgbClr val="F2F0EE"/>
        </a:accent3>
        <a:accent4>
          <a:srgbClr val="323232"/>
        </a:accent4>
        <a:accent5>
          <a:srgbClr val="C1D4D6"/>
        </a:accent5>
        <a:accent6>
          <a:srgbClr val="9CA991"/>
        </a:accent6>
        <a:hlink>
          <a:srgbClr val="B40084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89</TotalTime>
  <Words>44</Words>
  <Application>Microsoft Office PowerPoint</Application>
  <PresentationFormat>On-screen Show (4:3)</PresentationFormat>
  <Paragraphs>19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Default Design</vt:lpstr>
      <vt:lpstr>User Journey</vt:lpstr>
    </vt:vector>
  </TitlesOfParts>
  <Company>www.in-suppor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ONE</dc:title>
  <dc:creator>Martyn</dc:creator>
  <cp:lastModifiedBy>Paul Z Chapman</cp:lastModifiedBy>
  <cp:revision>452</cp:revision>
  <dcterms:created xsi:type="dcterms:W3CDTF">2008-04-06T18:42:22Z</dcterms:created>
  <dcterms:modified xsi:type="dcterms:W3CDTF">2013-10-04T09:5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version">
    <vt:i4>4</vt:i4>
  </property>
  <property fmtid="{D5CDD505-2E9C-101B-9397-08002B2CF9AE}" pid="3" name="WizKit template type">
    <vt:lpwstr>Onscreen</vt:lpwstr>
  </property>
</Properties>
</file>